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A20013"/>
    <a:srgbClr val="444444"/>
    <a:srgbClr val="F6F6F6"/>
    <a:srgbClr val="E5E5E5"/>
    <a:srgbClr val="A8A8A8"/>
    <a:srgbClr val="8D8D8D"/>
    <a:srgbClr val="5A5A5A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31:10.218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31:10.218" v="3" actId="27918"/>
        <pc:sldMkLst>
          <pc:docMk/>
          <pc:sldMk cId="204404663" sldId="27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7086888536396508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data!$D$8</c:f>
              <c:strCache>
                <c:ptCount val="1"/>
                <c:pt idx="0">
                  <c:v>CFF Infrastructur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1-86E6-4796-93B4-86B6D68D4BFF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D$9:$D$26</c:f>
              <c:numCache>
                <c:formatCode>#,##0</c:formatCode>
                <c:ptCount val="18"/>
                <c:pt idx="0">
                  <c:v>2114</c:v>
                </c:pt>
                <c:pt idx="1">
                  <c:v>2088.5749810000002</c:v>
                </c:pt>
                <c:pt idx="2">
                  <c:v>2128.2936650000001</c:v>
                </c:pt>
                <c:pt idx="3">
                  <c:v>2082.1999999999998</c:v>
                </c:pt>
                <c:pt idx="4">
                  <c:v>2111.3942470000002</c:v>
                </c:pt>
                <c:pt idx="5">
                  <c:v>2147.994831</c:v>
                </c:pt>
                <c:pt idx="6">
                  <c:v>2088.83</c:v>
                </c:pt>
                <c:pt idx="7">
                  <c:v>2097.6860000000001</c:v>
                </c:pt>
                <c:pt idx="8">
                  <c:v>2142.5936740000002</c:v>
                </c:pt>
                <c:pt idx="9">
                  <c:v>2067.431693</c:v>
                </c:pt>
                <c:pt idx="10">
                  <c:v>2033</c:v>
                </c:pt>
                <c:pt idx="11">
                  <c:v>2013</c:v>
                </c:pt>
                <c:pt idx="12">
                  <c:v>1890</c:v>
                </c:pt>
                <c:pt idx="13">
                  <c:v>2002.1310000000001</c:v>
                </c:pt>
                <c:pt idx="14">
                  <c:v>2048.1</c:v>
                </c:pt>
                <c:pt idx="15">
                  <c:v>2027.175</c:v>
                </c:pt>
                <c:pt idx="16">
                  <c:v>2043.8779999999999</c:v>
                </c:pt>
                <c:pt idx="17">
                  <c:v>2061.53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autres infrastructure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0-86E6-4796-93B4-86B6D68D4BFF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E$9:$E$26</c:f>
              <c:numCache>
                <c:formatCode>#,##0</c:formatCode>
                <c:ptCount val="18"/>
                <c:pt idx="0">
                  <c:v>303</c:v>
                </c:pt>
                <c:pt idx="1">
                  <c:v>302.17247499999985</c:v>
                </c:pt>
                <c:pt idx="2">
                  <c:v>299.80456299999969</c:v>
                </c:pt>
                <c:pt idx="3">
                  <c:v>298.90000000000009</c:v>
                </c:pt>
                <c:pt idx="4">
                  <c:v>298.41561400000001</c:v>
                </c:pt>
                <c:pt idx="5">
                  <c:v>293.65079300000025</c:v>
                </c:pt>
                <c:pt idx="6">
                  <c:v>291.939257</c:v>
                </c:pt>
                <c:pt idx="7">
                  <c:v>313.54700000000003</c:v>
                </c:pt>
                <c:pt idx="8">
                  <c:v>315.29860999999983</c:v>
                </c:pt>
                <c:pt idx="9">
                  <c:v>321.77498900000001</c:v>
                </c:pt>
                <c:pt idx="10">
                  <c:v>306.40000000000009</c:v>
                </c:pt>
                <c:pt idx="11">
                  <c:v>299.5</c:v>
                </c:pt>
                <c:pt idx="12">
                  <c:v>267.40000000000009</c:v>
                </c:pt>
                <c:pt idx="13">
                  <c:v>273.34500000000003</c:v>
                </c:pt>
                <c:pt idx="14">
                  <c:v>264.26099999999997</c:v>
                </c:pt>
                <c:pt idx="15">
                  <c:v>271.90499999999997</c:v>
                </c:pt>
                <c:pt idx="16">
                  <c:v>270.11500000000001</c:v>
                </c:pt>
                <c:pt idx="17">
                  <c:v>265.627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/>
      </c:barChart>
      <c:lineChart>
        <c:grouping val="standard"/>
        <c:varyColors val="0"/>
        <c:ser>
          <c:idx val="5"/>
          <c:order val="2"/>
          <c:tx>
            <c:strRef>
              <c:f>data!$F$8</c:f>
              <c:strCache>
                <c:ptCount val="1"/>
                <c:pt idx="0">
                  <c:v>Part d’énergies renouvelables dans le courant de traction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data!$B$10:$B$26</c:f>
              <c:numCache>
                <c:formatCode>General</c:formatCode>
                <c:ptCount val="1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  <c:pt idx="12">
                  <c:v>2021</c:v>
                </c:pt>
                <c:pt idx="13">
                  <c:v>2022</c:v>
                </c:pt>
                <c:pt idx="14">
                  <c:v>2023</c:v>
                </c:pt>
                <c:pt idx="15">
                  <c:v>2024</c:v>
                </c:pt>
                <c:pt idx="16">
                  <c:v>2025</c:v>
                </c:pt>
              </c:numCache>
            </c:numRef>
          </c:cat>
          <c:val>
            <c:numRef>
              <c:f>data!$F$9:$F$26</c:f>
              <c:numCache>
                <c:formatCode>#,##0</c:formatCode>
                <c:ptCount val="18"/>
                <c:pt idx="0">
                  <c:v>74.3</c:v>
                </c:pt>
                <c:pt idx="1">
                  <c:v>76.5</c:v>
                </c:pt>
                <c:pt idx="2">
                  <c:v>81.872506960903706</c:v>
                </c:pt>
                <c:pt idx="3">
                  <c:v>73</c:v>
                </c:pt>
                <c:pt idx="4">
                  <c:v>83.5</c:v>
                </c:pt>
                <c:pt idx="5">
                  <c:v>100</c:v>
                </c:pt>
                <c:pt idx="6">
                  <c:v>97.1</c:v>
                </c:pt>
                <c:pt idx="7">
                  <c:v>99.11</c:v>
                </c:pt>
                <c:pt idx="8">
                  <c:v>91.9</c:v>
                </c:pt>
                <c:pt idx="9">
                  <c:v>91.4</c:v>
                </c:pt>
                <c:pt idx="10">
                  <c:v>99.209195584327205</c:v>
                </c:pt>
                <c:pt idx="11">
                  <c:v>95.5</c:v>
                </c:pt>
                <c:pt idx="12">
                  <c:v>91.06</c:v>
                </c:pt>
                <c:pt idx="13">
                  <c:v>90.24</c:v>
                </c:pt>
                <c:pt idx="14">
                  <c:v>90.26</c:v>
                </c:pt>
                <c:pt idx="15">
                  <c:v>91.84</c:v>
                </c:pt>
                <c:pt idx="16">
                  <c:v>91.3</c:v>
                </c:pt>
                <c:pt idx="17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444444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2.9621591722522295E-2"/>
          <c:y val="0.92897946763722128"/>
          <c:w val="0.86431769375935441"/>
          <c:h val="6.2319984563840795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4127</cdr:x>
      <cdr:y>0.0590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80480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GWh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sommation de courant de traction et part des énergies renouvelables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2767294"/>
              </p:ext>
            </p:extLst>
          </p:nvPr>
        </p:nvGraphicFramePr>
        <p:xfrm>
          <a:off x="1494169" y="1886295"/>
          <a:ext cx="9220200" cy="4206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141601" y="5599974"/>
            <a:ext cx="5674536" cy="193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Courant de traction distribué par CFF Infrastructure Énergie pour la circulation des trains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48D31C0-9A8D-4536-8A17-F112556FC2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96e82a89-ba48-4728-b345-cf206dbec8f1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Consommation de courant de traction et part des énergies renouvelable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ommation de courant de traction et part des énergies renouvelables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